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5"/>
  </p:notesMasterIdLst>
  <p:sldIdLst>
    <p:sldId id="256" r:id="rId3"/>
    <p:sldId id="356" r:id="rId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9E7B46-A1EA-470D-8B62-D2641C3B0D33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3E230A-4CD6-41CB-A9BF-3E4AB38B0F2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574434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01679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DD70208-2B4E-4807-ADD1-A27346F01F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88EB6841-935C-4A41-9999-081F6001EE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1D0BE79-9375-4653-B959-4E3E61CF35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CA989-C245-4956-A6CE-D5E07DD2DD50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A2FCEC5A-4B48-49C2-BFAF-43859ECBE3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AC411D3-1889-46A6-A4F3-4BA6EEA8E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7C726-AFDB-4923-B212-B9A79473094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999662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48A0A0A-A76D-4E6E-8218-33D2D595D6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64176F5B-8E34-4AB4-9A7A-484EC34BFB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59AFDF9-AB6E-469A-969D-625B9B2161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CA989-C245-4956-A6CE-D5E07DD2DD50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D8B9CA1-0844-4A0B-8460-8BC871985F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865C204-250B-4122-8F94-420BDE20C4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7C726-AFDB-4923-B212-B9A79473094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300714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6A1C12C3-B27A-4F45-A6C8-B3116C202D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75FF3E4F-2901-46EF-82E3-A80E8B7DFC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D596EAD-E88B-4069-9ABF-06721619B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CA989-C245-4956-A6CE-D5E07DD2DD50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B63A2DC-D5E6-41CC-B25C-F549429F7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8541157-C42E-4738-8F85-1AA180F790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7C726-AFDB-4923-B212-B9A79473094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929276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367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35873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4655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943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33605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32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EBEAB27-1833-4011-8835-FA38F7FE6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772819E-0AFC-409C-82EF-BFA206279C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8A17390-2D24-43D3-A940-869C10F228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CA989-C245-4956-A6CE-D5E07DD2DD50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F55E11B-FF61-4F0B-BB4E-82466B8956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0B1BFBF-5FAC-4009-AAC9-C824463ABE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7C726-AFDB-4923-B212-B9A79473094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44301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5B09081-F9E8-4B15-8E04-4C4773C8C0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5DC6883-7CAD-4CAD-8F76-9D229712FE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0F5D77D-166F-4176-82E9-F5ABBBCA3C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CA989-C245-4956-A6CE-D5E07DD2DD50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EC3018B-E719-45A2-81D7-9DDE36115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99261DD-0034-45E3-8180-B177FC1B3D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7C726-AFDB-4923-B212-B9A79473094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473062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EA2FCEE-8D2B-4B52-9594-6DBF6E4456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9C237EDE-D6C8-4ABA-9648-3FF664F8FE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C7A82450-AB46-4A16-AB0B-76597365E8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5F293786-6CCE-4846-8649-32A6BB2861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CA989-C245-4956-A6CE-D5E07DD2DD50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FF53C414-E08B-449A-A5CC-EBFD65F2DE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A4528DA2-1A7F-45AB-81F5-A651AFD61B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7C726-AFDB-4923-B212-B9A79473094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336205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158411D-9035-444A-B41E-CD791E0D9F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A4273C9-90D8-4BFA-BC62-4EED594EA0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B347295A-4529-49F6-BB00-42F83725DE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E6D2E995-E0F2-45CC-A5AE-C2FAF5EE636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B0AB77FF-FE98-4E7D-98E5-7C632DE642B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D84F0DEB-6058-4E58-A947-9387C3F7A5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CA989-C245-4956-A6CE-D5E07DD2DD50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11B3DA0A-8049-4715-ADFD-1ADD4B8BD2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83EF2990-53E2-42F2-BE96-17FBD811BA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7C726-AFDB-4923-B212-B9A79473094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45049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29B2435-9289-43C1-9065-72E73BD27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389A3B4B-9761-400E-9CD0-E336E3C50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CA989-C245-4956-A6CE-D5E07DD2DD50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AABB6158-16DF-40CA-9FAF-E488FADE1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76DA0915-6692-4ED1-AC3C-6E887360A0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7C726-AFDB-4923-B212-B9A79473094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673196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69B05889-439E-4DF1-B415-0A2F1D291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CA989-C245-4956-A6CE-D5E07DD2DD50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DB84A16-BC68-40CA-8660-5B1CAC3CA7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4F951DF-DD96-46FE-A786-BD9E2C8C7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7C726-AFDB-4923-B212-B9A79473094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90244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7AA3808-35B2-400E-8C0A-5D7773B30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AFD72C5-2C27-4071-93C0-952D6EF966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517FD2D6-45A2-46CD-9F6A-5919C79D8E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909C108B-F43A-46C9-8BE6-56E02CE291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CA989-C245-4956-A6CE-D5E07DD2DD50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F031AC7C-DC7C-4F65-AA30-0525F4481B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57775BA-BCEA-4128-95B4-EEF743045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7C726-AFDB-4923-B212-B9A79473094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305503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EC5F091-EF32-456E-907A-D270D0D242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DE4FF503-7FA4-4708-990B-77816F730A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C92C7702-5925-4C6A-B7B4-CD2282A237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D9ED0A5D-C775-43F8-B11B-C9121949D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CA989-C245-4956-A6CE-D5E07DD2DD50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4E526B00-EC99-412D-98E0-003DA0B312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7545146A-A101-4F23-9E7B-26491CA13B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07C726-AFDB-4923-B212-B9A79473094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248777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61FEA155-21CF-46F6-9797-E2C73F5498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1581B5A-E021-479D-83CB-BDD3C2FC4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6F47C82-FC32-4DFF-94BD-A70610F614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3CA989-C245-4956-A6CE-D5E07DD2DD50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4FCFCAB-9B72-486D-8C47-21B349ECE7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220854A-CF8A-440C-9939-33C14FF1C7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07C726-AFDB-4923-B212-B9A79473094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9204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229567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8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185E14F-8454-4108-94B3-9281084E9C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1BC802AC-A16F-455D-8229-2705B7FBAD9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624484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cxnSp>
        <p:nvCxnSpPr>
          <p:cNvPr id="3" name="Gerader Verbinder 10">
            <a:extLst>
              <a:ext uri="{FF2B5EF4-FFF2-40B4-BE49-F238E27FC236}">
                <a16:creationId xmlns:a16="http://schemas.microsoft.com/office/drawing/2014/main" id="{4C102AB9-D90F-7AA1-D5A2-8F0D0E9C5AEE}"/>
              </a:ext>
            </a:extLst>
          </p:cNvPr>
          <p:cNvCxnSpPr>
            <a:cxnSpLocks/>
          </p:cNvCxnSpPr>
          <p:nvPr/>
        </p:nvCxnSpPr>
        <p:spPr bwMode="gray">
          <a:xfrm>
            <a:off x="6095999" y="3360010"/>
            <a:ext cx="0" cy="3166996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3">
            <a:extLst>
              <a:ext uri="{FF2B5EF4-FFF2-40B4-BE49-F238E27FC236}">
                <a16:creationId xmlns:a16="http://schemas.microsoft.com/office/drawing/2014/main" id="{D3C2BB8B-4A22-188E-7059-C709A51D874C}"/>
              </a:ext>
            </a:extLst>
          </p:cNvPr>
          <p:cNvSpPr>
            <a:spLocks/>
          </p:cNvSpPr>
          <p:nvPr/>
        </p:nvSpPr>
        <p:spPr bwMode="gray">
          <a:xfrm>
            <a:off x="3289150" y="4861783"/>
            <a:ext cx="2017288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lvl="0">
              <a:buClr>
                <a:srgbClr val="000000"/>
              </a:buClr>
              <a:defRPr/>
            </a:pPr>
            <a:r>
              <a:rPr lang="en-US" altLang="zh-CN" sz="2000" dirty="0">
                <a:solidFill>
                  <a:srgbClr val="1A7449"/>
                </a:solidFill>
                <a:sym typeface="Futura"/>
              </a:rPr>
              <a:t>{year_2_bullet}</a:t>
            </a:r>
          </a:p>
          <a:p>
            <a:pPr lvl="0">
              <a:defRPr/>
            </a:pPr>
            <a:r>
              <a:rPr lang="en-US" altLang="zh-CN" sz="1400" dirty="0">
                <a:solidFill>
                  <a:prstClr val="black"/>
                </a:solidFill>
              </a:rPr>
              <a:t>{year_1_description,max_token=20}</a:t>
            </a: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16731582-D26A-76C2-C6BD-717C227CD0A7}"/>
              </a:ext>
            </a:extLst>
          </p:cNvPr>
          <p:cNvSpPr>
            <a:spLocks/>
          </p:cNvSpPr>
          <p:nvPr/>
        </p:nvSpPr>
        <p:spPr bwMode="gray">
          <a:xfrm>
            <a:off x="3289150" y="4563209"/>
            <a:ext cx="201728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year_2}</a:t>
            </a:r>
          </a:p>
        </p:txBody>
      </p:sp>
      <p:sp>
        <p:nvSpPr>
          <p:cNvPr id="9" name="Ellipse 14">
            <a:extLst>
              <a:ext uri="{FF2B5EF4-FFF2-40B4-BE49-F238E27FC236}">
                <a16:creationId xmlns:a16="http://schemas.microsoft.com/office/drawing/2014/main" id="{C8F7145E-E0BE-99D5-AB61-E6293D351C95}"/>
              </a:ext>
            </a:extLst>
          </p:cNvPr>
          <p:cNvSpPr>
            <a:spLocks/>
          </p:cNvSpPr>
          <p:nvPr/>
        </p:nvSpPr>
        <p:spPr bwMode="gray">
          <a:xfrm>
            <a:off x="5749775" y="4295805"/>
            <a:ext cx="719457" cy="719378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pSp>
        <p:nvGrpSpPr>
          <p:cNvPr id="11" name="Gruppieren 17">
            <a:extLst>
              <a:ext uri="{FF2B5EF4-FFF2-40B4-BE49-F238E27FC236}">
                <a16:creationId xmlns:a16="http://schemas.microsoft.com/office/drawing/2014/main" id="{E0642190-047F-994D-C5E3-5B3D180D5AF7}"/>
              </a:ext>
            </a:extLst>
          </p:cNvPr>
          <p:cNvGrpSpPr>
            <a:grpSpLocks/>
          </p:cNvGrpSpPr>
          <p:nvPr/>
        </p:nvGrpSpPr>
        <p:grpSpPr bwMode="gray">
          <a:xfrm>
            <a:off x="6885562" y="2734439"/>
            <a:ext cx="2017287" cy="1037239"/>
            <a:chOff x="7027390" y="2636912"/>
            <a:chExt cx="2018338" cy="1037779"/>
          </a:xfrm>
        </p:grpSpPr>
        <p:sp>
          <p:nvSpPr>
            <p:cNvPr id="12" name="Rectangle 3">
              <a:extLst>
                <a:ext uri="{FF2B5EF4-FFF2-40B4-BE49-F238E27FC236}">
                  <a16:creationId xmlns:a16="http://schemas.microsoft.com/office/drawing/2014/main" id="{3788F11C-0241-A808-7A74-82957E370C8F}"/>
                </a:ext>
              </a:extLst>
            </p:cNvPr>
            <p:cNvSpPr>
              <a:spLocks/>
            </p:cNvSpPr>
            <p:nvPr/>
          </p:nvSpPr>
          <p:spPr bwMode="gray">
            <a:xfrm>
              <a:off x="7027390" y="2935642"/>
              <a:ext cx="2018338" cy="7390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  <a:sym typeface="Futura"/>
                </a:rPr>
                <a:t>{year_1_bullet}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year_1_description,max_token=20}</a:t>
              </a:r>
            </a:p>
          </p:txBody>
        </p:sp>
        <p:sp>
          <p:nvSpPr>
            <p:cNvPr id="13" name="Rectangle 3">
              <a:extLst>
                <a:ext uri="{FF2B5EF4-FFF2-40B4-BE49-F238E27FC236}">
                  <a16:creationId xmlns:a16="http://schemas.microsoft.com/office/drawing/2014/main" id="{1F113FAC-4173-3C6C-6158-9118CEA15223}"/>
                </a:ext>
              </a:extLst>
            </p:cNvPr>
            <p:cNvSpPr>
              <a:spLocks/>
            </p:cNvSpPr>
            <p:nvPr/>
          </p:nvSpPr>
          <p:spPr bwMode="gray">
            <a:xfrm>
              <a:off x="7027390" y="2636912"/>
              <a:ext cx="2018338" cy="21555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3522D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  <a:sym typeface="Futura"/>
                </a:rPr>
                <a:t>{year_1}</a:t>
              </a:r>
            </a:p>
          </p:txBody>
        </p:sp>
      </p:grpSp>
      <p:sp>
        <p:nvSpPr>
          <p:cNvPr id="14" name="Ellipse 20">
            <a:extLst>
              <a:ext uri="{FF2B5EF4-FFF2-40B4-BE49-F238E27FC236}">
                <a16:creationId xmlns:a16="http://schemas.microsoft.com/office/drawing/2014/main" id="{4FE9C168-2A22-694D-942C-9141C4A76A8D}"/>
              </a:ext>
            </a:extLst>
          </p:cNvPr>
          <p:cNvSpPr>
            <a:spLocks/>
          </p:cNvSpPr>
          <p:nvPr/>
        </p:nvSpPr>
        <p:spPr bwMode="gray">
          <a:xfrm>
            <a:off x="5554473" y="2277075"/>
            <a:ext cx="1083055" cy="1082935"/>
          </a:xfrm>
          <a:prstGeom prst="ellipse">
            <a:avLst/>
          </a:prstGeom>
          <a:noFill/>
          <a:ln w="38100" cap="rnd" cmpd="sng" algn="ctr">
            <a:solidFill>
              <a:schemeClr val="accent1"/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pic>
        <p:nvPicPr>
          <p:cNvPr id="15" name="Grafik 9">
            <a:extLst>
              <a:ext uri="{FF2B5EF4-FFF2-40B4-BE49-F238E27FC236}">
                <a16:creationId xmlns:a16="http://schemas.microsoft.com/office/drawing/2014/main" id="{9D1F7D57-5D19-8E17-4051-764B2541091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41859" y="4387850"/>
            <a:ext cx="535288" cy="535288"/>
          </a:xfrm>
          <a:prstGeom prst="rect">
            <a:avLst/>
          </a:prstGeom>
        </p:spPr>
      </p:pic>
      <p:pic>
        <p:nvPicPr>
          <p:cNvPr id="16" name="Grafik 23">
            <a:extLst>
              <a:ext uri="{FF2B5EF4-FFF2-40B4-BE49-F238E27FC236}">
                <a16:creationId xmlns:a16="http://schemas.microsoft.com/office/drawing/2014/main" id="{98EC203A-B2CB-6F4E-D6AF-B852C9EEDF0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28356" y="2506448"/>
            <a:ext cx="535288" cy="535288"/>
          </a:xfrm>
          <a:prstGeom prst="rect">
            <a:avLst/>
          </a:prstGeom>
        </p:spPr>
      </p:pic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939AE7B7-DE12-95EA-DD9D-5BB6973A003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1437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imelines, milestone, milestones, history, icon, icons, transition</a:t>
            </a:r>
          </a:p>
        </p:txBody>
      </p:sp>
    </p:spTree>
    <p:extLst>
      <p:ext uri="{BB962C8B-B14F-4D97-AF65-F5344CB8AC3E}">
        <p14:creationId xmlns:p14="http://schemas.microsoft.com/office/powerpoint/2010/main" val="4090786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8</Words>
  <Application>Microsoft Office PowerPoint</Application>
  <PresentationFormat>宽屏</PresentationFormat>
  <Paragraphs>8</Paragraphs>
  <Slides>2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</vt:i4>
      </vt:variant>
    </vt:vector>
  </HeadingPairs>
  <TitlesOfParts>
    <vt:vector size="13" baseType="lpstr">
      <vt:lpstr>Futura</vt:lpstr>
      <vt:lpstr>LiciumFont 2022 Bold</vt:lpstr>
      <vt:lpstr>等线</vt:lpstr>
      <vt:lpstr>等线 Light</vt:lpstr>
      <vt:lpstr>理想品牌字体 2022</vt:lpstr>
      <vt:lpstr>Arial</vt:lpstr>
      <vt:lpstr>Calibri</vt:lpstr>
      <vt:lpstr>Trebuchet MS</vt:lpstr>
      <vt:lpstr>Office 主题​​</vt:lpstr>
      <vt:lpstr>BCG Grid 16:9</vt:lpstr>
      <vt:lpstr>think-cell 幻灯片</vt:lpstr>
      <vt:lpstr>PowerPoint 演示文稿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后梦雪</dc:creator>
  <cp:lastModifiedBy>后梦雪</cp:lastModifiedBy>
  <cp:revision>1</cp:revision>
  <dcterms:created xsi:type="dcterms:W3CDTF">2025-09-09T02:24:45Z</dcterms:created>
  <dcterms:modified xsi:type="dcterms:W3CDTF">2025-09-09T02:25:33Z</dcterms:modified>
</cp:coreProperties>
</file>